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26:38.764" v="16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26:38.764" v="16" actId="27918"/>
        <pc:sldMkLst>
          <pc:docMk/>
          <pc:sldMk cId="1708932620" sldId="407"/>
        </pc:sldMkLst>
        <pc:spChg chg="mod">
          <ac:chgData name="Weigel Stefan (PAR-EPS)" userId="fd3b2067-2981-4ad8-bf3a-d2e1004e4fa8" providerId="ADAL" clId="{A4CFA2F4-FF8D-446B-B271-6DF568DBEADA}" dt="2026-01-15T16:29:09.829" v="1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1-15T16:29:14.724" v="7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17472506019392"/>
          <c:y val="3.9318010048961703E-2"/>
          <c:w val="0.84891618403071512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é du réseau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ège</c:v>
                </c:pt>
                <c:pt idx="1">
                  <c:v>Finlande</c:v>
                </c:pt>
                <c:pt idx="2">
                  <c:v>Suède</c:v>
                </c:pt>
                <c:pt idx="3">
                  <c:v>Espagne</c:v>
                </c:pt>
                <c:pt idx="4">
                  <c:v>Roumanie</c:v>
                </c:pt>
                <c:pt idx="5">
                  <c:v>France</c:v>
                </c:pt>
                <c:pt idx="6">
                  <c:v>Italie</c:v>
                </c:pt>
                <c:pt idx="7">
                  <c:v>Danemark</c:v>
                </c:pt>
                <c:pt idx="8">
                  <c:v>Pologne</c:v>
                </c:pt>
                <c:pt idx="9">
                  <c:v>Autriche</c:v>
                </c:pt>
                <c:pt idx="10">
                  <c:v>Grande-Bretagne</c:v>
                </c:pt>
                <c:pt idx="11">
                  <c:v>Pays-Bas</c:v>
                </c:pt>
                <c:pt idx="12">
                  <c:v>Allemagne</c:v>
                </c:pt>
                <c:pt idx="13">
                  <c:v>Tchéquie</c:v>
                </c:pt>
                <c:pt idx="14">
                  <c:v>Suisse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3046664898072</c:v>
                </c:pt>
                <c:pt idx="1">
                  <c:v>17.478746258248101</c:v>
                </c:pt>
                <c:pt idx="2">
                  <c:v>24.366149334859099</c:v>
                </c:pt>
                <c:pt idx="3">
                  <c:v>32.050636088564197</c:v>
                </c:pt>
                <c:pt idx="4">
                  <c:v>44.5096015906174</c:v>
                </c:pt>
                <c:pt idx="5">
                  <c:v>50.677660186468898</c:v>
                </c:pt>
                <c:pt idx="6">
                  <c:v>55.876111878018698</c:v>
                </c:pt>
                <c:pt idx="7">
                  <c:v>57.029702970297002</c:v>
                </c:pt>
                <c:pt idx="8">
                  <c:v>62.9151599086969</c:v>
                </c:pt>
                <c:pt idx="9">
                  <c:v>67.049762750661699</c:v>
                </c:pt>
                <c:pt idx="10">
                  <c:v>68.779331702066003</c:v>
                </c:pt>
                <c:pt idx="11">
                  <c:v>81.4115254962812</c:v>
                </c:pt>
                <c:pt idx="12">
                  <c:v>108.664341707475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nsité des réseaux ferroviaires en Europ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3126466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ongueur des lignes ferroviaires en mètres par kilomètre carré du territoire nationa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Eurostat, BFS, ORR &amp; ONS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19410D-066E-4172-A245-A55FEF499F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é des réseaux ferroviaires en Europe e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é des réseaux ferroviaires en Europe en 2022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